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1413" r:id="rId2"/>
    <p:sldId id="2237" r:id="rId3"/>
    <p:sldId id="2185" r:id="rId4"/>
    <p:sldId id="2226" r:id="rId5"/>
    <p:sldId id="2227" r:id="rId6"/>
    <p:sldId id="2228" r:id="rId7"/>
    <p:sldId id="2229" r:id="rId8"/>
    <p:sldId id="2230" r:id="rId9"/>
    <p:sldId id="2231" r:id="rId10"/>
    <p:sldId id="2232" r:id="rId11"/>
    <p:sldId id="2172" r:id="rId12"/>
    <p:sldId id="2235" r:id="rId13"/>
    <p:sldId id="2238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C99"/>
    <a:srgbClr val="7191D1"/>
    <a:srgbClr val="B0C2E5"/>
    <a:srgbClr val="F2F2F2"/>
    <a:srgbClr val="CC99FF"/>
    <a:srgbClr val="FF9933"/>
    <a:srgbClr val="FF9966"/>
    <a:srgbClr val="FF6600"/>
    <a:srgbClr val="31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17" d="100"/>
          <a:sy n="117" d="100"/>
        </p:scale>
        <p:origin x="516" y="76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1979426879203"/>
          <c:y val="0.15289779551144775"/>
          <c:w val="0.71169677772137596"/>
          <c:h val="0.791978898748192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7.849190839987997</c:v>
                </c:pt>
                <c:pt idx="1">
                  <c:v>46.107549686934</c:v>
                </c:pt>
                <c:pt idx="2">
                  <c:v>45.356572920768002</c:v>
                </c:pt>
                <c:pt idx="3">
                  <c:v>39.967734025752002</c:v>
                </c:pt>
                <c:pt idx="5">
                  <c:v>36.805860838228</c:v>
                </c:pt>
                <c:pt idx="6">
                  <c:v>36.307874072285003</c:v>
                </c:pt>
                <c:pt idx="7">
                  <c:v>36.967346501271003</c:v>
                </c:pt>
                <c:pt idx="8">
                  <c:v>37.438017091224999</c:v>
                </c:pt>
                <c:pt idx="9">
                  <c:v>37.950312119720998</c:v>
                </c:pt>
                <c:pt idx="10">
                  <c:v>37.843975474974997</c:v>
                </c:pt>
                <c:pt idx="11">
                  <c:v>38.11967856820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B-4255-9B61-E6E850493DE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6.167719622638</c:v>
                </c:pt>
                <c:pt idx="1">
                  <c:v>28.327978912765001</c:v>
                </c:pt>
                <c:pt idx="2">
                  <c:v>28.867097145091002</c:v>
                </c:pt>
                <c:pt idx="3">
                  <c:v>27.632402734614999</c:v>
                </c:pt>
                <c:pt idx="5">
                  <c:v>24.794942088949998</c:v>
                </c:pt>
                <c:pt idx="6">
                  <c:v>25.374773986775001</c:v>
                </c:pt>
                <c:pt idx="7">
                  <c:v>25.368132349998</c:v>
                </c:pt>
                <c:pt idx="8">
                  <c:v>25.172341062486002</c:v>
                </c:pt>
                <c:pt idx="9">
                  <c:v>24.584265145612999</c:v>
                </c:pt>
                <c:pt idx="10">
                  <c:v>24.741001690009998</c:v>
                </c:pt>
                <c:pt idx="11">
                  <c:v>25.988167717048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B-4255-9B61-E6E850493DE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0.88105928576100001</c:v>
                </c:pt>
                <c:pt idx="1">
                  <c:v>0.87305693037300003</c:v>
                </c:pt>
                <c:pt idx="2">
                  <c:v>0.88559777539999995</c:v>
                </c:pt>
                <c:pt idx="3">
                  <c:v>0.930375059881</c:v>
                </c:pt>
                <c:pt idx="5">
                  <c:v>0.73923202047600001</c:v>
                </c:pt>
                <c:pt idx="6">
                  <c:v>0.76808595356300002</c:v>
                </c:pt>
                <c:pt idx="7">
                  <c:v>0.79746705454300004</c:v>
                </c:pt>
                <c:pt idx="8">
                  <c:v>0.80475723927700005</c:v>
                </c:pt>
                <c:pt idx="9">
                  <c:v>0.80178333614499997</c:v>
                </c:pt>
                <c:pt idx="10">
                  <c:v>0.849142865488</c:v>
                </c:pt>
                <c:pt idx="11">
                  <c:v>0.913843435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B-4255-9B61-E6E850493DE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3.977846856648</c:v>
                </c:pt>
                <c:pt idx="1">
                  <c:v>10.341179624763001</c:v>
                </c:pt>
                <c:pt idx="2">
                  <c:v>10.620144840430999</c:v>
                </c:pt>
                <c:pt idx="3">
                  <c:v>13.847806234437</c:v>
                </c:pt>
                <c:pt idx="5">
                  <c:v>13.405216817583</c:v>
                </c:pt>
                <c:pt idx="6">
                  <c:v>14.542588398095999</c:v>
                </c:pt>
                <c:pt idx="7">
                  <c:v>14.359878839576</c:v>
                </c:pt>
                <c:pt idx="8">
                  <c:v>14.470457761811</c:v>
                </c:pt>
                <c:pt idx="9">
                  <c:v>13.805204268807</c:v>
                </c:pt>
                <c:pt idx="10">
                  <c:v>13.838854330539</c:v>
                </c:pt>
                <c:pt idx="11">
                  <c:v>13.249638504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B-4255-9B61-E6E850493DE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9.2386526088000007E-2</c:v>
                </c:pt>
                <c:pt idx="1">
                  <c:v>0.10375245532500001</c:v>
                </c:pt>
                <c:pt idx="2">
                  <c:v>0.102734973728</c:v>
                </c:pt>
                <c:pt idx="3">
                  <c:v>9.6531506441000003E-2</c:v>
                </c:pt>
                <c:pt idx="5">
                  <c:v>7.0322400593000003E-2</c:v>
                </c:pt>
                <c:pt idx="6">
                  <c:v>7.0300719977999998E-2</c:v>
                </c:pt>
                <c:pt idx="7">
                  <c:v>7.2333462508999996E-2</c:v>
                </c:pt>
                <c:pt idx="8">
                  <c:v>7.4910189417999998E-2</c:v>
                </c:pt>
                <c:pt idx="9">
                  <c:v>7.6244081571000002E-2</c:v>
                </c:pt>
                <c:pt idx="10">
                  <c:v>7.7888128306999996E-2</c:v>
                </c:pt>
                <c:pt idx="11">
                  <c:v>8.0924588608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B-4255-9B61-E6E850493DE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0.48943273626400002</c:v>
                </c:pt>
                <c:pt idx="1">
                  <c:v>0.54823308727800002</c:v>
                </c:pt>
                <c:pt idx="2">
                  <c:v>0.54710512870600003</c:v>
                </c:pt>
                <c:pt idx="3">
                  <c:v>0.51578195897800005</c:v>
                </c:pt>
                <c:pt idx="5">
                  <c:v>0.23482527276599999</c:v>
                </c:pt>
                <c:pt idx="6">
                  <c:v>0.23231222135900001</c:v>
                </c:pt>
                <c:pt idx="7">
                  <c:v>0.251930329008</c:v>
                </c:pt>
                <c:pt idx="8">
                  <c:v>0.24704713694700001</c:v>
                </c:pt>
                <c:pt idx="9">
                  <c:v>0.27704888020899998</c:v>
                </c:pt>
                <c:pt idx="10">
                  <c:v>0.31228271443299999</c:v>
                </c:pt>
                <c:pt idx="11">
                  <c:v>0.296625553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B-4255-9B61-E6E850493DE0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H$2:$H$13</c:f>
              <c:numCache>
                <c:formatCode>General</c:formatCode>
                <c:ptCount val="12"/>
                <c:pt idx="0">
                  <c:v>20.542364132610999</c:v>
                </c:pt>
                <c:pt idx="1">
                  <c:v>13.698249302559001</c:v>
                </c:pt>
                <c:pt idx="2">
                  <c:v>13.620747215872999</c:v>
                </c:pt>
                <c:pt idx="3">
                  <c:v>17.009368479892998</c:v>
                </c:pt>
                <c:pt idx="5">
                  <c:v>23.949600561402001</c:v>
                </c:pt>
                <c:pt idx="6">
                  <c:v>22.704064647942001</c:v>
                </c:pt>
                <c:pt idx="7">
                  <c:v>22.182911463092999</c:v>
                </c:pt>
                <c:pt idx="8">
                  <c:v>21.792469518834</c:v>
                </c:pt>
                <c:pt idx="9">
                  <c:v>22.505142167931002</c:v>
                </c:pt>
                <c:pt idx="10">
                  <c:v>22.336854796246001</c:v>
                </c:pt>
                <c:pt idx="11">
                  <c:v>21.351121632426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B-4255-9B61-E6E850493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9E-3"/>
          <c:y val="4.1173005736514182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05-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945437806965003</c:v>
                </c:pt>
                <c:pt idx="1">
                  <c:v>91.736438946125006</c:v>
                </c:pt>
                <c:pt idx="2">
                  <c:v>81.814924765944994</c:v>
                </c:pt>
                <c:pt idx="3">
                  <c:v>78.196831900858996</c:v>
                </c:pt>
                <c:pt idx="4">
                  <c:v>72.525926188702002</c:v>
                </c:pt>
                <c:pt idx="5">
                  <c:v>64.289134727261995</c:v>
                </c:pt>
                <c:pt idx="6">
                  <c:v>67.119284410673004</c:v>
                </c:pt>
                <c:pt idx="7">
                  <c:v>22.387014250225</c:v>
                </c:pt>
                <c:pt idx="8">
                  <c:v>75.96057107267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05-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758020763038999</c:v>
                </c:pt>
                <c:pt idx="1">
                  <c:v>91.271001504268995</c:v>
                </c:pt>
                <c:pt idx="2">
                  <c:v>81.520676362968999</c:v>
                </c:pt>
                <c:pt idx="3">
                  <c:v>77.741957766515995</c:v>
                </c:pt>
                <c:pt idx="4">
                  <c:v>72.004671415789005</c:v>
                </c:pt>
                <c:pt idx="5">
                  <c:v>63.430443792829998</c:v>
                </c:pt>
                <c:pt idx="6">
                  <c:v>66.066460082681999</c:v>
                </c:pt>
                <c:pt idx="7">
                  <c:v>22.039892353209002</c:v>
                </c:pt>
                <c:pt idx="8">
                  <c:v>75.30858553007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7.575510506615004</c:v>
                </c:pt>
                <c:pt idx="1">
                  <c:v>91.591826305227997</c:v>
                </c:pt>
                <c:pt idx="2">
                  <c:v>81.721673206682993</c:v>
                </c:pt>
                <c:pt idx="3">
                  <c:v>76.401423116973007</c:v>
                </c:pt>
                <c:pt idx="4">
                  <c:v>70.155051560009994</c:v>
                </c:pt>
                <c:pt idx="5">
                  <c:v>59.614090554671002</c:v>
                </c:pt>
                <c:pt idx="6">
                  <c:v>60.401212352679003</c:v>
                </c:pt>
                <c:pt idx="7">
                  <c:v>21.554314408094001</c:v>
                </c:pt>
                <c:pt idx="8">
                  <c:v>73.072159624687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F82-B544-891C0F95F72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7.260497350183002</c:v>
                </c:pt>
                <c:pt idx="1">
                  <c:v>91.356595847017005</c:v>
                </c:pt>
                <c:pt idx="2">
                  <c:v>81.514356540201007</c:v>
                </c:pt>
                <c:pt idx="3">
                  <c:v>76.125911141963996</c:v>
                </c:pt>
                <c:pt idx="4">
                  <c:v>69.845856622715999</c:v>
                </c:pt>
                <c:pt idx="5">
                  <c:v>59.139848114244998</c:v>
                </c:pt>
                <c:pt idx="6">
                  <c:v>59.944376710684999</c:v>
                </c:pt>
                <c:pt idx="7">
                  <c:v>21.314867228863001</c:v>
                </c:pt>
                <c:pt idx="8">
                  <c:v>72.741674787164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5D-4F82-B544-891C0F95F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9.020201121295003</c:v>
                </c:pt>
                <c:pt idx="1">
                  <c:v>91.753993176014006</c:v>
                </c:pt>
                <c:pt idx="2">
                  <c:v>81.836093935218997</c:v>
                </c:pt>
                <c:pt idx="3">
                  <c:v>77.375933844862004</c:v>
                </c:pt>
                <c:pt idx="4">
                  <c:v>71.155747417038995</c:v>
                </c:pt>
                <c:pt idx="5">
                  <c:v>60.483693875260002</c:v>
                </c:pt>
                <c:pt idx="6">
                  <c:v>61.687426088453002</c:v>
                </c:pt>
                <c:pt idx="7">
                  <c:v>21.478612344593</c:v>
                </c:pt>
                <c:pt idx="8">
                  <c:v>73.657259768859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258-B2E9-3390F07AA8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8.714069591526993</c:v>
                </c:pt>
                <c:pt idx="1">
                  <c:v>91.530818806732</c:v>
                </c:pt>
                <c:pt idx="2">
                  <c:v>81.630517199029995</c:v>
                </c:pt>
                <c:pt idx="3">
                  <c:v>77.082764686258002</c:v>
                </c:pt>
                <c:pt idx="4">
                  <c:v>70.844056360988006</c:v>
                </c:pt>
                <c:pt idx="5">
                  <c:v>60.011809313741999</c:v>
                </c:pt>
                <c:pt idx="6">
                  <c:v>61.242937341131999</c:v>
                </c:pt>
                <c:pt idx="7">
                  <c:v>21.217494391839999</c:v>
                </c:pt>
                <c:pt idx="8">
                  <c:v>73.312703834849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C-4258-B2E9-3390F07AA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1.679674115810002</c:v>
                </c:pt>
                <c:pt idx="1">
                  <c:v>91.755376152031999</c:v>
                </c:pt>
                <c:pt idx="2">
                  <c:v>81.788602884644007</c:v>
                </c:pt>
                <c:pt idx="3">
                  <c:v>77.582493474264993</c:v>
                </c:pt>
                <c:pt idx="4">
                  <c:v>71.243728545021995</c:v>
                </c:pt>
                <c:pt idx="5">
                  <c:v>60.670958878591001</c:v>
                </c:pt>
                <c:pt idx="6">
                  <c:v>62.113404811435998</c:v>
                </c:pt>
                <c:pt idx="7">
                  <c:v>21.841209482044</c:v>
                </c:pt>
                <c:pt idx="8">
                  <c:v>74.007970773829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0CB-8CD6-67928DF8B39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283740054060004</c:v>
                </c:pt>
                <c:pt idx="1">
                  <c:v>91.494209076548003</c:v>
                </c:pt>
                <c:pt idx="2">
                  <c:v>81.565335055508996</c:v>
                </c:pt>
                <c:pt idx="3">
                  <c:v>77.299223935105005</c:v>
                </c:pt>
                <c:pt idx="4">
                  <c:v>70.950128226358004</c:v>
                </c:pt>
                <c:pt idx="5">
                  <c:v>60.146463000045998</c:v>
                </c:pt>
                <c:pt idx="6">
                  <c:v>61.633327999145997</c:v>
                </c:pt>
                <c:pt idx="7">
                  <c:v>21.578091937808001</c:v>
                </c:pt>
                <c:pt idx="8">
                  <c:v>73.66854865493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0CB-8CD6-67928DF8B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774026943777997</c:v>
                </c:pt>
                <c:pt idx="1">
                  <c:v>91.429674169172003</c:v>
                </c:pt>
                <c:pt idx="2">
                  <c:v>81.171117401946006</c:v>
                </c:pt>
                <c:pt idx="3">
                  <c:v>76.724137931033994</c:v>
                </c:pt>
                <c:pt idx="4">
                  <c:v>69.847753905424</c:v>
                </c:pt>
                <c:pt idx="5">
                  <c:v>60.114591454231999</c:v>
                </c:pt>
                <c:pt idx="6">
                  <c:v>61.637148604228997</c:v>
                </c:pt>
                <c:pt idx="7">
                  <c:v>21.140856961935999</c:v>
                </c:pt>
                <c:pt idx="8">
                  <c:v>73.84020219061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44-4C97-A806-76CD7E1DDB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425562365825002</c:v>
                </c:pt>
                <c:pt idx="1">
                  <c:v>91.194035914520001</c:v>
                </c:pt>
                <c:pt idx="2">
                  <c:v>80.955927043350002</c:v>
                </c:pt>
                <c:pt idx="3">
                  <c:v>76.427298492720993</c:v>
                </c:pt>
                <c:pt idx="4">
                  <c:v>69.537263118762993</c:v>
                </c:pt>
                <c:pt idx="5">
                  <c:v>59.599837671006</c:v>
                </c:pt>
                <c:pt idx="6">
                  <c:v>61.170583329244003</c:v>
                </c:pt>
                <c:pt idx="7">
                  <c:v>20.874082412814001</c:v>
                </c:pt>
                <c:pt idx="8">
                  <c:v>73.48638492903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44-4C97-A806-76CD7E1DD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50104568158997</c:v>
                </c:pt>
                <c:pt idx="1">
                  <c:v>91.072889843168994</c:v>
                </c:pt>
                <c:pt idx="2">
                  <c:v>80.895402149058995</c:v>
                </c:pt>
                <c:pt idx="3">
                  <c:v>76.372220108600999</c:v>
                </c:pt>
                <c:pt idx="4">
                  <c:v>69.608216776552993</c:v>
                </c:pt>
                <c:pt idx="5">
                  <c:v>59.560606753911998</c:v>
                </c:pt>
                <c:pt idx="6">
                  <c:v>61.932723257934001</c:v>
                </c:pt>
                <c:pt idx="7">
                  <c:v>20.748294788447001</c:v>
                </c:pt>
                <c:pt idx="8">
                  <c:v>73.17112455394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C-4282-9746-C835D5D8CC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78498712342002</c:v>
                </c:pt>
                <c:pt idx="1">
                  <c:v>90.780099248504001</c:v>
                </c:pt>
                <c:pt idx="2">
                  <c:v>80.634174080961998</c:v>
                </c:pt>
                <c:pt idx="3">
                  <c:v>76.051718373510994</c:v>
                </c:pt>
                <c:pt idx="4">
                  <c:v>69.237108883722001</c:v>
                </c:pt>
                <c:pt idx="5">
                  <c:v>58.962890088770003</c:v>
                </c:pt>
                <c:pt idx="6">
                  <c:v>61.417491513506</c:v>
                </c:pt>
                <c:pt idx="7">
                  <c:v>20.50783331557</c:v>
                </c:pt>
                <c:pt idx="8">
                  <c:v>72.76910473527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C-4282-9746-C835D5D8C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57919474067003</c:v>
                </c:pt>
                <c:pt idx="1">
                  <c:v>90.214922359629</c:v>
                </c:pt>
                <c:pt idx="2">
                  <c:v>80.325854973023993</c:v>
                </c:pt>
                <c:pt idx="3">
                  <c:v>76.452691931499999</c:v>
                </c:pt>
                <c:pt idx="4">
                  <c:v>69.961290997540999</c:v>
                </c:pt>
                <c:pt idx="5">
                  <c:v>60.366583158647998</c:v>
                </c:pt>
                <c:pt idx="6">
                  <c:v>62.585421412300001</c:v>
                </c:pt>
                <c:pt idx="7">
                  <c:v>20.802375591290001</c:v>
                </c:pt>
                <c:pt idx="8">
                  <c:v>74.18698653920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3-4982-9BAE-718503394E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56330968423003</c:v>
                </c:pt>
                <c:pt idx="1">
                  <c:v>89.967854628533999</c:v>
                </c:pt>
                <c:pt idx="2">
                  <c:v>80.050723776203</c:v>
                </c:pt>
                <c:pt idx="3">
                  <c:v>76.080366165368005</c:v>
                </c:pt>
                <c:pt idx="4">
                  <c:v>69.567226377918004</c:v>
                </c:pt>
                <c:pt idx="5">
                  <c:v>59.760723963392003</c:v>
                </c:pt>
                <c:pt idx="6">
                  <c:v>61.968658477058</c:v>
                </c:pt>
                <c:pt idx="7">
                  <c:v>20.517697296169001</c:v>
                </c:pt>
                <c:pt idx="8">
                  <c:v>73.758750667479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3-4982-9BAE-71850339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4.573107500863998</c:v>
                </c:pt>
                <c:pt idx="1">
                  <c:v>90.859331449550993</c:v>
                </c:pt>
                <c:pt idx="2">
                  <c:v>80.672633035014002</c:v>
                </c:pt>
                <c:pt idx="3">
                  <c:v>76.486183222075994</c:v>
                </c:pt>
                <c:pt idx="4">
                  <c:v>72.276184491370003</c:v>
                </c:pt>
                <c:pt idx="5">
                  <c:v>64.678315534866002</c:v>
                </c:pt>
                <c:pt idx="6">
                  <c:v>68.238700326707999</c:v>
                </c:pt>
                <c:pt idx="7">
                  <c:v>25.647196000843</c:v>
                </c:pt>
                <c:pt idx="8">
                  <c:v>75.236993272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4F-45D5-8906-2A772ED970B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V.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4.156218248854998</c:v>
                </c:pt>
                <c:pt idx="1">
                  <c:v>90.565711319993</c:v>
                </c:pt>
                <c:pt idx="2">
                  <c:v>80.410562805192995</c:v>
                </c:pt>
                <c:pt idx="3">
                  <c:v>76.086038683173996</c:v>
                </c:pt>
                <c:pt idx="4">
                  <c:v>71.875846452214006</c:v>
                </c:pt>
                <c:pt idx="5">
                  <c:v>64.173169952536995</c:v>
                </c:pt>
                <c:pt idx="6">
                  <c:v>67.760859012712999</c:v>
                </c:pt>
                <c:pt idx="7">
                  <c:v>25.282508652021001</c:v>
                </c:pt>
                <c:pt idx="8">
                  <c:v>74.832329572923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4F-45D5-8906-2A772ED97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54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3840861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>
                <a:solidFill>
                  <a:schemeClr val="tx1"/>
                </a:solidFill>
              </a:rPr>
              <a:t>Průběh vakcinace k 13. 3. 2022</a:t>
            </a:r>
          </a:p>
          <a:p>
            <a:r>
              <a:rPr lang="cs-CZ" sz="4400" b="0" i="1" dirty="0">
                <a:solidFill>
                  <a:schemeClr val="tx1"/>
                </a:solidFill>
              </a:rPr>
              <a:t>Stručná prezentace shrnující analýzu dle velikosti sídel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00 000 a více obyvatel (2 382 465 obyvatel, 6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FE759F90-0394-4F8C-BD0E-26FAB632990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5051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61CB2D4-BC7E-4C94-8AC8-F2AB1168D22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8F468458-0F79-403C-B5AA-486E3474AD1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47325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864587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22 1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11 98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03 67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54 18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915 86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906 17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8 0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06 8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98 13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1 61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95 9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86 0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64 2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49 43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39 95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32 3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53 42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44 52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85 52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82 95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65 68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51 88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45 50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878 18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668 33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589 7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13. 3. 2022</a:t>
            </a:r>
          </a:p>
        </p:txBody>
      </p:sp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231324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5 88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95 7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7 79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3 69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96 04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86 74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71 97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9 88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1 50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93 74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78 2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68 7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39 00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33 40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24 25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10 60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39 69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31 1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48 26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56 38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39 71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49 78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43 5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683 16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539 17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463 36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13. 3. 2022</a:t>
            </a:r>
          </a:p>
        </p:txBody>
      </p:sp>
    </p:spTree>
    <p:extLst>
      <p:ext uri="{BB962C8B-B14F-4D97-AF65-F5344CB8AC3E}">
        <p14:creationId xmlns:p14="http://schemas.microsoft.com/office/powerpoint/2010/main" val="3631949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CC0C066E-E621-45AB-9DE5-FE5E62E3C08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852661"/>
              </p:ext>
            </p:extLst>
          </p:nvPr>
        </p:nvGraphicFramePr>
        <p:xfrm>
          <a:off x="0" y="584775"/>
          <a:ext cx="12143016" cy="6089122"/>
        </p:xfrm>
        <a:graphic>
          <a:graphicData uri="http://schemas.openxmlformats.org/drawingml/2006/table">
            <a:tbl>
              <a:tblPr/>
              <a:tblGrid>
                <a:gridCol w="1532612">
                  <a:extLst>
                    <a:ext uri="{9D8B030D-6E8A-4147-A177-3AD203B41FA5}">
                      <a16:colId xmlns:a16="http://schemas.microsoft.com/office/drawing/2014/main" val="1316398286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1257541552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3799259609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4265050253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540826252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4136903827"/>
                    </a:ext>
                  </a:extLst>
                </a:gridCol>
                <a:gridCol w="1267354">
                  <a:extLst>
                    <a:ext uri="{9D8B030D-6E8A-4147-A177-3AD203B41FA5}">
                      <a16:colId xmlns:a16="http://schemas.microsoft.com/office/drawing/2014/main" val="3838346291"/>
                    </a:ext>
                  </a:extLst>
                </a:gridCol>
                <a:gridCol w="1252617">
                  <a:extLst>
                    <a:ext uri="{9D8B030D-6E8A-4147-A177-3AD203B41FA5}">
                      <a16:colId xmlns:a16="http://schemas.microsoft.com/office/drawing/2014/main" val="968359733"/>
                    </a:ext>
                  </a:extLst>
                </a:gridCol>
                <a:gridCol w="706375">
                  <a:extLst>
                    <a:ext uri="{9D8B030D-6E8A-4147-A177-3AD203B41FA5}">
                      <a16:colId xmlns:a16="http://schemas.microsoft.com/office/drawing/2014/main" val="322339112"/>
                    </a:ext>
                  </a:extLst>
                </a:gridCol>
                <a:gridCol w="1047288">
                  <a:extLst>
                    <a:ext uri="{9D8B030D-6E8A-4147-A177-3AD203B41FA5}">
                      <a16:colId xmlns:a16="http://schemas.microsoft.com/office/drawing/2014/main" val="3999023031"/>
                    </a:ext>
                  </a:extLst>
                </a:gridCol>
              </a:tblGrid>
              <a:tr h="326961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6" marR="6146" marT="61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kost obcí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461862"/>
                  </a:ext>
                </a:extLst>
              </a:tr>
              <a:tr h="49252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bydliště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750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– 1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 – 4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 – 14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00 – 39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 – 99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00 a více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9681314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996 / 111128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996/1111280 (75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687156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699 / 2699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3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188 / 2385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C4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92 / 1813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6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897 / 2141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3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182 / 1727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75 / 57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233/1133984 (78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331175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34 / 12288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94 / 812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2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09 / 748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83 / 872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4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71 / 9016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7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14 / 7845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905/534754 (74.7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461228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42 / 9566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13 / 7583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75 / 9092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41 / 6500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28 / 1873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392 / 1469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7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791/493070 (73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884808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70 / 2874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7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41 / 338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56 / 3729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86 / 5890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34 / 4576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7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45 / 414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6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332/245932 (70.8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966574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33 / 80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5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53 / 7953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29 / 623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65 / 10198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2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23 / 1401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649 / 21226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152/677309 (72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866489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92 / 4917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5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85 / 463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09 / 5396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30 / 6196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35 / 68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8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43 / 8582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9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194/365503 (72.0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717338"/>
                  </a:ext>
                </a:extLst>
              </a:tr>
              <a:tr h="44779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25 / 1040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0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38 / 724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49 / 4445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75 / 118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6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59 / 416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54 / 7763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1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600/459214 (73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617790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59 / 10115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78 / 731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31 / 480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05 / 11580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1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39 / 1916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22 / 7688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1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834/434172 (72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496772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170 / 13780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3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70 / 5228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4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48 / 5832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5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39 / 66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29 / 664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11 / 424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367/424066 (77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655610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993 / 154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094 / 17682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395 / 1431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59 / 9263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20 / 1039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862 / 3194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7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123/990788 (72.7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410122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16 / 9920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5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1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67 / 1028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5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06 / 673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70 / 788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34 / 939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62 / 829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155/525104 (68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385765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71 / 753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65 / 985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2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10 / 822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87 / 669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81 / 1002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36 / 6237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8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550/485727 (70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6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974034"/>
                  </a:ext>
                </a:extLst>
              </a:tr>
              <a:tr h="44779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76 / 518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5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02 / 12109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183 / 1358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42 / 1053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20 / 14761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1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805 / 19635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299 / 23913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227/997281 (69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1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354907"/>
                  </a:ext>
                </a:extLst>
              </a:tr>
              <a:tr h="32910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880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88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937793"/>
                  </a:ext>
                </a:extLst>
              </a:tr>
              <a:tr h="310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680/1371572 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188/1252479 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392/1080171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479/1234490 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2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355/1108903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6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816/1013838 </a:t>
                      </a: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8549/1816731 (74.7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880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8339/887818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53545"/>
                  </a:ext>
                </a:extLst>
              </a:tr>
            </a:tbl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FFAA2208-B546-4A68-B6F9-4C3EFE0C00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057" y="554759"/>
            <a:ext cx="1533524" cy="35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ts val="1000"/>
              </a:lnSpc>
            </a:pP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Očkovaní / obyvatelstvo</a:t>
            </a:r>
            <a:b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(podíl %)</a:t>
            </a: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BEF4F7FB-78BF-43F8-B706-380361FF08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785" y="0"/>
            <a:ext cx="7434501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/>
              <a:t>Očkovaní alespoň 1 dávkou, věk 16 a více let</a:t>
            </a:r>
            <a:endParaRPr lang="cs-CZ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FA89CAF-7E8A-448E-BA99-896CC52EC3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13. 3. 2022</a:t>
            </a:r>
          </a:p>
        </p:txBody>
      </p:sp>
    </p:spTree>
    <p:extLst>
      <p:ext uri="{BB962C8B-B14F-4D97-AF65-F5344CB8AC3E}">
        <p14:creationId xmlns:p14="http://schemas.microsoft.com/office/powerpoint/2010/main" val="19298206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EA07EF69-E822-480B-8581-2B84270B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181160"/>
              </p:ext>
            </p:extLst>
          </p:nvPr>
        </p:nvGraphicFramePr>
        <p:xfrm>
          <a:off x="133350" y="742950"/>
          <a:ext cx="11837679" cy="578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13. 3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89194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678805"/>
              </p:ext>
            </p:extLst>
          </p:nvPr>
        </p:nvGraphicFramePr>
        <p:xfrm>
          <a:off x="10803138" y="1608754"/>
          <a:ext cx="1333315" cy="4601544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  <a:gridCol w="647515">
                  <a:extLst>
                    <a:ext uri="{9D8B030D-6E8A-4147-A177-3AD203B41FA5}">
                      <a16:colId xmlns:a16="http://schemas.microsoft.com/office/drawing/2014/main" val="1988768172"/>
                    </a:ext>
                  </a:extLst>
                </a:gridCol>
              </a:tblGrid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34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 0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9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0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 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 8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5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694639" y="1180677"/>
            <a:ext cx="96051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yvatelstvo </a:t>
            </a:r>
          </a:p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1. 1. 2021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DE88B8D6-CC63-4A18-A0A2-C12CA14C6C9E}"/>
              </a:ext>
            </a:extLst>
          </p:cNvPr>
          <p:cNvSpPr/>
          <p:nvPr/>
        </p:nvSpPr>
        <p:spPr>
          <a:xfrm>
            <a:off x="11418668" y="3266652"/>
            <a:ext cx="7697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et obcí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E4438AD-C19F-4800-86E5-D99FB2280CA5}"/>
              </a:ext>
            </a:extLst>
          </p:cNvPr>
          <p:cNvSpPr/>
          <p:nvPr/>
        </p:nvSpPr>
        <p:spPr>
          <a:xfrm>
            <a:off x="22619" y="3253093"/>
            <a:ext cx="2179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ce podle počtu obyvatel</a:t>
            </a:r>
            <a:endParaRPr lang="cs-CZ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37893DC9-287B-4677-8B4C-245EDD1E1EDD}"/>
              </a:ext>
            </a:extLst>
          </p:cNvPr>
          <p:cNvSpPr/>
          <p:nvPr/>
        </p:nvSpPr>
        <p:spPr>
          <a:xfrm>
            <a:off x="240021" y="617976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r>
              <a:rPr lang="cs-CZ" sz="1100" b="1" dirty="0">
                <a:solidFill>
                  <a:srgbClr val="FF0000"/>
                </a:solidFill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310486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24269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4D3D046A-6B0A-4D22-B358-88584987FE47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Celkový přehled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817B73-F049-4743-BDB2-57E1F37CB4C1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85930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do 750 obyvatel (1 358 031 obyvatel, 4 247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08961D1-DDD6-49A8-A978-9E283C04DC3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001525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DB5CBC3-FD57-43D3-AB0A-884EE3365B11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ABF4EE96-7434-418D-A305-0AB39405926D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31852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750 – 1 999 obyvatel (1 531 990 obyvatel, 1 294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E7B9B15-9120-43B8-8524-207203EEEC6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2762019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51A14B2E-6869-4520-A387-7FB8A904021C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3D5DC57C-C7FC-4406-966F-D92D9D54113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532486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2 000 – 4 999 obyvatel (1 334 099 obyvatel, 441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27EEF3F1-2537-48F1-9061-D953A2F8D8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13689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B25FF770-62F5-4448-8585-88A6EBCB9787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4D50749A-2209-4E42-8A7E-E4F3F600337B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434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5 000 – 14 999 obyvatel (1 469 760 obyvatel, 18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0B4B87C-1D23-4D8D-AE42-0728CA7F11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94498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CE92ECA-B9DE-4168-B7B9-1383901EBE83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2859E773-1151-4C8A-A400-568BDDFDE906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57502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5 000 – 39 999 obyvatel (1 392 895 obyvatel, 6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2FB9686-F02D-456D-AB30-60BC6CC6E24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38448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318C09F0-916B-4408-B222-363E03AF4EE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506DB690-38B5-477D-BD3A-14180D26F01F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198415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13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40 000 – 99 999 obyvatel (1 232 537 obyvatel, 20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61B8D42-163F-4396-880D-44BDAB1F290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921967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4943663-80F7-4830-8580-68DFB365379E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10CC488C-1A0D-454F-B997-A65B0B8067F5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229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81</TotalTime>
  <Words>1801</Words>
  <Application>Microsoft Office PowerPoint</Application>
  <PresentationFormat>Širokoúhlá obrazovka</PresentationFormat>
  <Paragraphs>347</Paragraphs>
  <Slides>13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6" baseType="lpstr">
      <vt:lpstr>Arial</vt:lpstr>
      <vt:lpstr>Calibri</vt:lpstr>
      <vt:lpstr>Motiv Office</vt:lpstr>
      <vt:lpstr>Prezentace aplikace PowerPoint</vt:lpstr>
      <vt:lpstr>Stav očkování obyvatel v ČR k 13. 3. 2022</vt:lpstr>
      <vt:lpstr>Zájem o očkování, stav k 13. 3. 2022</vt:lpstr>
      <vt:lpstr>Zájem o očkování, stav k 13. 3. 2022</vt:lpstr>
      <vt:lpstr>Zájem o očkování, stav k 13. 3. 2022</vt:lpstr>
      <vt:lpstr>Zájem o očkování, stav k 13. 3. 2022</vt:lpstr>
      <vt:lpstr>Zájem o očkování, stav k 13. 3. 2022</vt:lpstr>
      <vt:lpstr>Zájem o očkování, stav k 13. 3. 2022</vt:lpstr>
      <vt:lpstr>Zájem o očkování, stav k 13. 3. 2022</vt:lpstr>
      <vt:lpstr>Zájem o očkování, stav k 13. 3. 2022</vt:lpstr>
      <vt:lpstr>Očkovaní 16 a více let – přehled podle velikosti obcí</vt:lpstr>
      <vt:lpstr>Očkovaní 18 a více let – přehled podle velikosti obcí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Zavřel Michal</cp:lastModifiedBy>
  <cp:revision>606</cp:revision>
  <dcterms:created xsi:type="dcterms:W3CDTF">2020-11-14T10:09:00Z</dcterms:created>
  <dcterms:modified xsi:type="dcterms:W3CDTF">2022-03-13T08:34:13Z</dcterms:modified>
</cp:coreProperties>
</file>